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8"/>
  </p:notesMasterIdLst>
  <p:handoutMasterIdLst>
    <p:handoutMasterId r:id="rId9"/>
  </p:handoutMasterIdLst>
  <p:sldIdLst>
    <p:sldId id="256" r:id="rId3"/>
    <p:sldId id="3699" r:id="rId4"/>
    <p:sldId id="3700" r:id="rId5"/>
    <p:sldId id="3701" r:id="rId6"/>
    <p:sldId id="3702" r:id="rId7"/>
  </p:sldIdLst>
  <p:sldSz cx="12192000" cy="6858000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6 Decem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6 December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0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40450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9315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4.xml"/><Relationship Id="rId5" Type="http://schemas.openxmlformats.org/officeDocument/2006/relationships/tags" Target="../tags/tag273.xml"/><Relationship Id="rId10" Type="http://schemas.openxmlformats.org/officeDocument/2006/relationships/image" Target="../media/image4.emf"/><Relationship Id="rId4" Type="http://schemas.openxmlformats.org/officeDocument/2006/relationships/tags" Target="../tags/tag272.xml"/><Relationship Id="rId9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7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76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79.xml"/><Relationship Id="rId4" Type="http://schemas.openxmlformats.org/officeDocument/2006/relationships/tags" Target="../tags/tag27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406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5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ublic vs. Private vs. Hybrid cloud models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164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0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AB2B6DE-B65F-4AD9-BACF-05469A0CE26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Chapte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6082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B3E27E6-C8E4-44BF-931A-E3D07D6A6E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871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A2702DB-8F7F-4157-85D4-8A483BC92E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B58718-583B-4CE3-A34D-E101F4D99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ublic clou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7D2F31-CB36-45A6-AA16-CD93DC203A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52905C-181B-47E4-BF66-F3163A5457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449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CD6770-F103-4554-877D-BA153B62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92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3BFEAD3-E4C4-481F-9E60-A5007890FD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683EC0-AE1C-4481-9FA0-FA9A40B59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ivate clou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145D05-73F1-4164-8069-6E336B78E80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D927BA-98BD-4ACF-8347-D237A4C4AE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071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AC8C99-3AF6-4EDD-88CB-1EF8C6CF62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304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0FC27CE-789E-4DFE-B397-1A0215F162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FD4BC-0D08-420C-88CB-D436590C3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Hybrid clou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D93EF3-4B78-42C1-93CD-231FB93AC2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0FCD7-F5EA-4E46-A3D1-F329E3F65F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43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8-06 08:53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G.Nan_h2BhijW1ZjvR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ekxLi43CrkfuRhEwoNF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xqNp..ZK8FL2g1EOVE.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FQaBrz6msT1BwzkJjl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6592001C-CD0C-492B-A46D-8B4EF9FAD56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</TotalTime>
  <Words>20</Words>
  <Application>Microsoft Office PowerPoint</Application>
  <PresentationFormat>Widescreen</PresentationFormat>
  <Paragraphs>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Public vs. Private vs. Hybrid cloud models</vt:lpstr>
      <vt:lpstr>Agenda</vt:lpstr>
      <vt:lpstr>The Public cloud</vt:lpstr>
      <vt:lpstr>The Private cloud</vt:lpstr>
      <vt:lpstr>The Hybrid clou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c vs. Private vs. Hybrid cloud models</dc:title>
  <dc:subject/>
  <dc:creator>Lam</dc:creator>
  <cp:keywords/>
  <dc:description/>
  <cp:lastModifiedBy>Lam</cp:lastModifiedBy>
  <cp:revision>2</cp:revision>
  <cp:lastPrinted>2018-10-30T20:37:12Z</cp:lastPrinted>
  <dcterms:created xsi:type="dcterms:W3CDTF">2020-12-06T14:32:08Z</dcterms:created>
  <dcterms:modified xsi:type="dcterms:W3CDTF">2020-12-06T14:40:4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